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265" r:id="rId5"/>
    <p:sldId id="796" r:id="rId6"/>
    <p:sldId id="308" r:id="rId7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269D01E-BC32-4049-B463-5C60D7B0CCD2}" styleName="Stijl, thema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Stijl, licht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76" autoAdjust="0"/>
    <p:restoredTop sz="87192" autoAdjust="0"/>
  </p:normalViewPr>
  <p:slideViewPr>
    <p:cSldViewPr snapToGrid="0">
      <p:cViewPr>
        <p:scale>
          <a:sx n="60" d="100"/>
          <a:sy n="60" d="100"/>
        </p:scale>
        <p:origin x="216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6D68931F-7939-4358-B80F-DC2EF56FBFFC}"/>
    <pc:docChg chg="modSld">
      <pc:chgData name="Konstantin Glukhenkiy" userId="24b49d37-c936-4e44-8fab-4bfac34f62f4" providerId="ADAL" clId="{6D68931F-7939-4358-B80F-DC2EF56FBFFC}" dt="2025-09-04T13:36:00.212" v="50" actId="20577"/>
      <pc:docMkLst>
        <pc:docMk/>
      </pc:docMkLst>
      <pc:sldChg chg="modSp mod">
        <pc:chgData name="Konstantin Glukhenkiy" userId="24b49d37-c936-4e44-8fab-4bfac34f62f4" providerId="ADAL" clId="{6D68931F-7939-4358-B80F-DC2EF56FBFFC}" dt="2025-09-04T13:36:00.212" v="50" actId="20577"/>
        <pc:sldMkLst>
          <pc:docMk/>
          <pc:sldMk cId="2574424397" sldId="265"/>
        </pc:sldMkLst>
        <pc:spChg chg="mod">
          <ac:chgData name="Konstantin Glukhenkiy" userId="24b49d37-c936-4e44-8fab-4bfac34f62f4" providerId="ADAL" clId="{6D68931F-7939-4358-B80F-DC2EF56FBFFC}" dt="2025-09-04T13:36:00.212" v="50" actId="20577"/>
          <ac:spMkLst>
            <pc:docMk/>
            <pc:sldMk cId="2574424397" sldId="265"/>
            <ac:spMk id="4" creationId="{5BA46932-961C-4162-8C77-9056444970D8}"/>
          </ac:spMkLst>
        </pc:spChg>
        <pc:spChg chg="mod">
          <ac:chgData name="Konstantin Glukhenkiy" userId="24b49d37-c936-4e44-8fab-4bfac34f62f4" providerId="ADAL" clId="{6D68931F-7939-4358-B80F-DC2EF56FBFFC}" dt="2025-09-04T13:35:03.867" v="17" actId="6549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  <pc:docChgLst>
    <pc:chgData name="Boersma, Jan Sybren" userId="3f2800dd-6a72-4608-8e57-322d542001d0" providerId="ADAL" clId="{C46BA437-95CC-469A-B911-7C99E1E3AB48}"/>
    <pc:docChg chg="custSel modSld">
      <pc:chgData name="Boersma, Jan Sybren" userId="3f2800dd-6a72-4608-8e57-322d542001d0" providerId="ADAL" clId="{C46BA437-95CC-469A-B911-7C99E1E3AB48}" dt="2025-09-04T13:08:22.135" v="43" actId="20577"/>
      <pc:docMkLst>
        <pc:docMk/>
      </pc:docMkLst>
      <pc:sldChg chg="modSp mod">
        <pc:chgData name="Boersma, Jan Sybren" userId="3f2800dd-6a72-4608-8e57-322d542001d0" providerId="ADAL" clId="{C46BA437-95CC-469A-B911-7C99E1E3AB48}" dt="2025-09-04T12:16:40.107" v="32" actId="6549"/>
        <pc:sldMkLst>
          <pc:docMk/>
          <pc:sldMk cId="2574424397" sldId="265"/>
        </pc:sldMkLst>
        <pc:spChg chg="mod">
          <ac:chgData name="Boersma, Jan Sybren" userId="3f2800dd-6a72-4608-8e57-322d542001d0" providerId="ADAL" clId="{C46BA437-95CC-469A-B911-7C99E1E3AB48}" dt="2025-09-04T12:16:40.107" v="32" actId="6549"/>
          <ac:spMkLst>
            <pc:docMk/>
            <pc:sldMk cId="2574424397" sldId="265"/>
            <ac:spMk id="3" creationId="{CAD92662-9D5D-46D5-9C8A-7E4B76847114}"/>
          </ac:spMkLst>
        </pc:spChg>
        <pc:spChg chg="mod">
          <ac:chgData name="Boersma, Jan Sybren" userId="3f2800dd-6a72-4608-8e57-322d542001d0" providerId="ADAL" clId="{C46BA437-95CC-469A-B911-7C99E1E3AB48}" dt="2025-09-04T12:16:29.665" v="31" actId="20577"/>
          <ac:spMkLst>
            <pc:docMk/>
            <pc:sldMk cId="2574424397" sldId="265"/>
            <ac:spMk id="6" creationId="{30EE5E8F-7BD9-6BD0-02CD-A36323964257}"/>
          </ac:spMkLst>
        </pc:spChg>
      </pc:sldChg>
      <pc:sldChg chg="modSp mod">
        <pc:chgData name="Boersma, Jan Sybren" userId="3f2800dd-6a72-4608-8e57-322d542001d0" providerId="ADAL" clId="{C46BA437-95CC-469A-B911-7C99E1E3AB48}" dt="2025-09-04T13:08:22.135" v="43" actId="20577"/>
        <pc:sldMkLst>
          <pc:docMk/>
          <pc:sldMk cId="2896470623" sldId="308"/>
        </pc:sldMkLst>
        <pc:spChg chg="mod">
          <ac:chgData name="Boersma, Jan Sybren" userId="3f2800dd-6a72-4608-8e57-322d542001d0" providerId="ADAL" clId="{C46BA437-95CC-469A-B911-7C99E1E3AB48}" dt="2025-09-04T12:16:17.137" v="15" actId="20577"/>
          <ac:spMkLst>
            <pc:docMk/>
            <pc:sldMk cId="2896470623" sldId="308"/>
            <ac:spMk id="4" creationId="{626B1B90-4592-9F58-BCA3-0E6CD2494E2C}"/>
          </ac:spMkLst>
        </pc:spChg>
        <pc:graphicFrameChg chg="modGraphic">
          <ac:chgData name="Boersma, Jan Sybren" userId="3f2800dd-6a72-4608-8e57-322d542001d0" providerId="ADAL" clId="{C46BA437-95CC-469A-B911-7C99E1E3AB48}" dt="2025-09-04T13:08:22.135" v="43" actId="20577"/>
          <ac:graphicFrameMkLst>
            <pc:docMk/>
            <pc:sldMk cId="2896470623" sldId="308"/>
            <ac:graphicFrameMk id="6" creationId="{579F08E5-31F0-3D1D-D78A-98050AD72132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4B4914-4BC0-40D6-B494-059CD6B36C43}" type="datetimeFigureOut">
              <a:rPr lang="en-GB" smtClean="0"/>
              <a:t>04/09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F325B-5E72-4A45-836B-78262F88708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833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418D2-371F-E724-F600-B61BA80C4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287339E-EDFE-9241-D532-B7A60B43E3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576263" y="706438"/>
            <a:ext cx="7924801" cy="445928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F5A5287-7F5F-76DB-0DF2-3C2DAB308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1167" y="5787318"/>
            <a:ext cx="8564276" cy="3381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DA91A8-3135-1B7B-9328-F09B40B27C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42293-32A4-4699-BFF7-D6A38CA7012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380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A96E7-760D-39C8-0360-F12410B9CA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AD11716-7F8C-B4D3-A043-F34DBC8A38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DA5852B-3A64-D6CC-BEA0-80F475EDB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82508-6DA6-4C57-8CA8-653A824BB07A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F2B46D3-BCEC-325D-84D8-D46B2FEE9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F640C42-DCDA-D258-C3DD-D1EE7DF3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768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04B15-1981-EB10-3CEB-70B8D5309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6292981-3476-378C-8886-50C6F908E0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94E7D3B-6DF4-18B9-DF73-29B55A590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964CB-45F5-45BF-8FAE-97CEFB56749C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45BD984-1C37-EDD6-091B-847861CC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3AD43A6-8A92-D9EA-7C41-064DE96EC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63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7F028BA7-3335-EB65-8EE9-D9FD90F58E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F76D7C2-4643-0175-8D0D-8A08F79C4E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180F64F-21FA-13A1-0086-5D5CCE1F8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203B-351B-485A-A4AD-7C1B5C663F04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8DDD6F2-4EF4-EE3F-E2F0-6B9BEE6C8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95464F-09DC-276C-B920-CFAD15B81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5357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D20711E-2F2B-F0D3-6386-B18376AAF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13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0711E-2F2B-F0D3-6386-B18376AAF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890962"/>
            <a:ext cx="11449050" cy="203838"/>
          </a:xfrm>
        </p:spPr>
        <p:txBody>
          <a:bodyPr anchor="b">
            <a:spAutoFit/>
          </a:bodyPr>
          <a:lstStyle>
            <a:lvl1pPr rtl="0"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Quelle &amp; Fuß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111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380521-DBE8-1EF3-16B5-E35D73166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B20D410-FA28-F5E0-A87B-5376267269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6C08E6F-EE84-32CD-2862-3A40EFA3A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A7E872-E6B0-46EB-A4CF-3B3392894D8E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95AB1B4-5F55-BF33-74BF-59DB8EBEE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03BD22B-5377-C7A1-7076-AE461FC5B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145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5E16EC-78E2-8349-9042-60E4DD9FA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59E68D9-73DE-3812-770F-DF9C73328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1B3BBC4-64D5-F0AA-B377-B2AB7E714E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ED99A-908E-44FC-AD4E-48D3F5E31F00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DAA94C-18C6-C452-D5FB-8AFD130C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D2213CE-31B3-AB17-5AE0-FFC03DDFD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014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9013C7-E812-88E7-EF5E-3637D0A7E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407E528-4416-FE78-D70D-A0A1E3D31B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B4E518-1F59-697F-5FBC-60C01BB710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1230E1-EEE7-3AE0-FAF8-FF86B83F4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9D0CA-1C75-48F9-94C2-EF0BCAC6C092}" type="datetime1">
              <a:rPr lang="en-GB" smtClean="0"/>
              <a:t>04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DF02BC5-3A20-E67A-3D64-FF8D4CA066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A72F93-AE86-D6EC-F536-AA48F25B5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9034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BC6BBF-7CDD-5B4A-60F4-046C404CF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4E49A90-C89D-19D4-C88B-44EA906D0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A88ED1F-8593-0E39-5BFB-BBC733B6DC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3D3EEAD-673B-E033-37CC-D1621A6B97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FBBF8D0F-2B83-4275-2562-3AAFC4C35B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0BEF7515-CBFA-E4FA-8593-974746C0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7044D-585B-4C87-BDCA-26DD6DF98CF3}" type="datetime1">
              <a:rPr lang="en-GB" smtClean="0"/>
              <a:t>04/09/2025</a:t>
            </a:fld>
            <a:endParaRPr lang="en-GB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96CDB05F-B87A-D087-B7FF-F91AD3E64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321ACF4A-BE64-FD9C-1071-FB1E368F8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978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1456FA-68F0-FFC2-8CE7-ED3B3A7DA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C920EE2-9192-DAD0-F1B2-1E141A6FA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CB88D-5D8C-4048-8D07-B6A4C07D9756}" type="datetime1">
              <a:rPr lang="en-GB" smtClean="0"/>
              <a:t>04/09/2025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551F2BF-9A4B-55C0-3998-6810F0B6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01E9671-1C8A-2D7C-0441-B3CDE3216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805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72ED49F-0BBB-1039-B49D-10E944180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AEBC6-DAE7-4218-A9AC-E727C16CA2F5}" type="datetime1">
              <a:rPr lang="en-GB" smtClean="0"/>
              <a:t>04/09/2025</a:t>
            </a:fld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A482D11-6271-5357-B21E-0B1512D30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6C40CBD-B6D7-964A-3463-9DFF5ADB4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26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5F14EB-6C73-B2D8-74F2-18CDE3789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8878F-6653-E24C-3A65-8981EB2F3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092081C-1AB8-6F81-30ED-16D18AE87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5248BD5-8310-D9ED-68F0-4878558E2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5B03B-1847-41D1-9BDB-E677AA9B2CFC}" type="datetime1">
              <a:rPr lang="en-GB" smtClean="0"/>
              <a:t>04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48A582F-ED01-4F1E-4BB9-944A1B68E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7806D6A-2379-F87A-B09A-616A0CA77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0237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8A21BC-586A-9ABF-99FA-ACE953D04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AA4E6D0B-FE99-C744-DC33-C1E6152387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8618129-4328-6354-6A5D-A038434F08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99224E7-6339-AF9F-56F0-113C1E934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153B6-92A5-4A6A-95CF-B8562033812E}" type="datetime1">
              <a:rPr lang="en-GB" smtClean="0"/>
              <a:t>04/09/202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BDBCCF5-912F-4E28-05C2-A74E44F4B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F-AVRS Status Report GRBP-82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226D3BE-F139-058B-60A1-C6213B934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066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00E2EC2-7770-0BD3-CAA0-BE4365C65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7CB9C65-E5D3-86BC-9F03-EFA53B3DDD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C46800-C482-26DF-5CA9-0573433E1F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DCD275C-B4D0-4752-B2A7-B2B08FB6ABA7}" type="datetime1">
              <a:rPr lang="en-GB" smtClean="0"/>
              <a:t>04/09/2025</a:t>
            </a:fld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4112F35-DD87-7240-8C41-A79FB0413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TF-AVRS Status Report GRBP-8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6E5C7E9-011D-62FE-EC4E-23C59A8F8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72E1402-C48D-4BE1-B5C4-3ED179C88C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37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hyperlink" Target="https://unece.org/transport/documents/2025/09/informal-documents/oica-proposal-replace-ecetranswp29grbp202529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82</a:t>
            </a:r>
            <a:r>
              <a:rPr lang="en-GB" sz="4000" b="1" baseline="30000" dirty="0"/>
              <a:t>nd</a:t>
            </a:r>
            <a:r>
              <a:rPr lang="en-GB" sz="4000" b="1" dirty="0"/>
              <a:t>  Session of GRBP</a:t>
            </a:r>
            <a:br>
              <a:rPr lang="en-GB" sz="4000" b="1" dirty="0"/>
            </a:br>
            <a:r>
              <a:rPr lang="en-GB" sz="4000" b="1" dirty="0"/>
              <a:t>(September 2025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SG R51 R138</a:t>
            </a:r>
          </a:p>
          <a:p>
            <a:r>
              <a:rPr lang="en-GB" sz="2800" dirty="0"/>
              <a:t>Short term steps to deliver a supported </a:t>
            </a:r>
          </a:p>
          <a:p>
            <a:r>
              <a:rPr lang="en-GB" sz="2800" dirty="0"/>
              <a:t>EV-ASEP propos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5084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ubmitted by the experts from the Netherland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43305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82-39</a:t>
            </a:r>
          </a:p>
          <a:p>
            <a:r>
              <a:rPr lang="en-GB" dirty="0"/>
              <a:t>82</a:t>
            </a:r>
            <a:r>
              <a:rPr lang="en-GB" baseline="30000" dirty="0"/>
              <a:t>nd</a:t>
            </a:r>
            <a:r>
              <a:rPr lang="en-GB" dirty="0"/>
              <a:t> GRBP, 3-5 September 2025, </a:t>
            </a:r>
          </a:p>
          <a:p>
            <a:r>
              <a:rPr lang="en-GB" dirty="0"/>
              <a:t>agenda items  3 and 4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0EE5E8F-7BD9-6BD0-02CD-A36323964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ASEP limit line GRBP-82</a:t>
            </a:r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6D69AF45-ACD6-DEEA-5AC1-BCFF797F8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28FA67-55AA-ABD9-F7BD-B129823FD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0EE1B73-C7CE-4801-02EA-3AB9B63CE1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0EE1B73-C7CE-4801-02EA-3AB9B63CE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4F2E35E-3FDA-8B9F-BEB7-C40DBD7F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313" y="365126"/>
            <a:ext cx="11062487" cy="750382"/>
          </a:xfrm>
        </p:spPr>
        <p:txBody>
          <a:bodyPr vert="horz">
            <a:normAutofit fontScale="90000"/>
          </a:bodyPr>
          <a:lstStyle/>
          <a:p>
            <a:r>
              <a:rPr lang="en-US" sz="3200" dirty="0"/>
              <a:t>Agreed items for Consideration as amendments to on GRBP/2025/29</a:t>
            </a:r>
            <a:endParaRPr lang="en-US" sz="3200" b="1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D5AFA1E-0278-1D94-8243-6FA2C4D7B37F}"/>
              </a:ext>
            </a:extLst>
          </p:cNvPr>
          <p:cNvGrpSpPr/>
          <p:nvPr/>
        </p:nvGrpSpPr>
        <p:grpSpPr>
          <a:xfrm>
            <a:off x="371476" y="2276564"/>
            <a:ext cx="2824878" cy="3192629"/>
            <a:chOff x="371476" y="2802544"/>
            <a:chExt cx="2824878" cy="3192629"/>
          </a:xfrm>
        </p:grpSpPr>
        <p:sp>
          <p:nvSpPr>
            <p:cNvPr id="15" name="Textplatzhalter 5">
              <a:extLst>
                <a:ext uri="{FF2B5EF4-FFF2-40B4-BE49-F238E27FC236}">
                  <a16:creationId xmlns:a16="http://schemas.microsoft.com/office/drawing/2014/main" id="{9D9DB316-A001-8F6A-40EF-99D5F74826D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1476" y="3734526"/>
              <a:ext cx="2824878" cy="2260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28800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/>
                <a:t>Vehicle shall start in a “low noise mode”, respectively R138 range ONLY</a:t>
              </a:r>
            </a:p>
            <a:p>
              <a:pPr lvl="1"/>
              <a:r>
                <a:rPr lang="en-US" dirty="0"/>
                <a:t>EES to be activated by the driver only</a:t>
              </a:r>
            </a:p>
            <a:p>
              <a:pPr lvl="1"/>
              <a:r>
                <a:rPr lang="en-US" dirty="0"/>
                <a:t>Switch to turn off EES</a:t>
              </a:r>
            </a:p>
          </p:txBody>
        </p: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6B0D2417-277C-1B72-9E13-DF664203BEA6}"/>
                </a:ext>
              </a:extLst>
            </p:cNvPr>
            <p:cNvGrpSpPr/>
            <p:nvPr/>
          </p:nvGrpSpPr>
          <p:grpSpPr>
            <a:xfrm>
              <a:off x="371476" y="2802544"/>
              <a:ext cx="2646263" cy="931983"/>
              <a:chOff x="371475" y="1434419"/>
              <a:chExt cx="4158125" cy="931983"/>
            </a:xfrm>
          </p:grpSpPr>
          <p:sp>
            <p:nvSpPr>
              <p:cNvPr id="12" name="Textplatzhalter 5">
                <a:extLst>
                  <a:ext uri="{FF2B5EF4-FFF2-40B4-BE49-F238E27FC236}">
                    <a16:creationId xmlns:a16="http://schemas.microsoft.com/office/drawing/2014/main" id="{61A3105F-7D27-F4AB-A790-97A31112374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475" y="1434419"/>
                <a:ext cx="958846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spAutoFit/>
              </a:bodyPr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44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88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32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800" b="1" dirty="0">
                    <a:solidFill>
                      <a:srgbClr val="00B0F0"/>
                    </a:solidFill>
                  </a:rPr>
                  <a:t>01</a:t>
                </a:r>
              </a:p>
            </p:txBody>
          </p:sp>
          <p:grpSp>
            <p:nvGrpSpPr>
              <p:cNvPr id="16" name="Gruppieren 15">
                <a:extLst>
                  <a:ext uri="{FF2B5EF4-FFF2-40B4-BE49-F238E27FC236}">
                    <a16:creationId xmlns:a16="http://schemas.microsoft.com/office/drawing/2014/main" id="{2AB9B760-A1D3-7236-9412-1466111A9271}"/>
                  </a:ext>
                </a:extLst>
              </p:cNvPr>
              <p:cNvGrpSpPr/>
              <p:nvPr/>
            </p:nvGrpSpPr>
            <p:grpSpPr>
              <a:xfrm>
                <a:off x="371476" y="1989000"/>
                <a:ext cx="4158124" cy="377402"/>
                <a:chOff x="1793876" y="1412875"/>
                <a:chExt cx="4165349" cy="377402"/>
              </a:xfrm>
            </p:grpSpPr>
            <p:sp>
              <p:nvSpPr>
                <p:cNvPr id="17" name="Textplatzhalter 5">
                  <a:extLst>
                    <a:ext uri="{FF2B5EF4-FFF2-40B4-BE49-F238E27FC236}">
                      <a16:creationId xmlns:a16="http://schemas.microsoft.com/office/drawing/2014/main" id="{EDBFF4B4-AD16-9DC5-B446-3CC70F9702E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793876" y="1412875"/>
                  <a:ext cx="4165349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2"/>
                      </a:solidFill>
                    </a14:hiddenFill>
                  </a:ext>
                </a:extLst>
              </p:spPr>
              <p:txBody>
                <a:bodyPr vert="horz" wrap="square" lIns="0" tIns="0" rIns="0" bIns="72000" rtlCol="0" anchor="t" anchorCtr="0">
                  <a:spAutoFit/>
                </a:bodyPr>
                <a:lstStyle>
                  <a:lvl1pPr marL="0" indent="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itchFamily="34" charset="0"/>
                    <a:buNone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144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88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432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800" b="1" dirty="0"/>
                    <a:t>Default Mode</a:t>
                  </a:r>
                </a:p>
              </p:txBody>
            </p:sp>
            <p:cxnSp>
              <p:nvCxnSpPr>
                <p:cNvPr id="18" name="Gerader Verbinder 17">
                  <a:extLst>
                    <a:ext uri="{FF2B5EF4-FFF2-40B4-BE49-F238E27FC236}">
                      <a16:creationId xmlns:a16="http://schemas.microsoft.com/office/drawing/2014/main" id="{8C59E2C7-0692-C740-35C7-3E08004C95BC}"/>
                    </a:ext>
                  </a:extLst>
                </p:cNvPr>
                <p:cNvCxnSpPr/>
                <p:nvPr/>
              </p:nvCxnSpPr>
              <p:spPr>
                <a:xfrm>
                  <a:off x="1793876" y="1790277"/>
                  <a:ext cx="4165349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BE9CABB-68F2-A9DA-71BA-9E0C3DCEB2FE}"/>
              </a:ext>
            </a:extLst>
          </p:cNvPr>
          <p:cNvGrpSpPr/>
          <p:nvPr/>
        </p:nvGrpSpPr>
        <p:grpSpPr>
          <a:xfrm>
            <a:off x="3305739" y="2276564"/>
            <a:ext cx="2646263" cy="2734043"/>
            <a:chOff x="3305739" y="2802544"/>
            <a:chExt cx="2646263" cy="2734043"/>
          </a:xfrm>
        </p:grpSpPr>
        <p:sp>
          <p:nvSpPr>
            <p:cNvPr id="20" name="Textplatzhalter 5">
              <a:extLst>
                <a:ext uri="{FF2B5EF4-FFF2-40B4-BE49-F238E27FC236}">
                  <a16:creationId xmlns:a16="http://schemas.microsoft.com/office/drawing/2014/main" id="{E8FC98FC-F877-6479-AFA9-BB702D0C21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05739" y="3734527"/>
              <a:ext cx="2646263" cy="180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28800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/>
                <a:t>Add a timing e.g. 18 or 24 months as transitional provisions to extensions of existing Type Approvals</a:t>
              </a: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2E026188-2456-6D60-2B27-D5A35D8B3260}"/>
                </a:ext>
              </a:extLst>
            </p:cNvPr>
            <p:cNvGrpSpPr/>
            <p:nvPr/>
          </p:nvGrpSpPr>
          <p:grpSpPr>
            <a:xfrm>
              <a:off x="3305739" y="2802544"/>
              <a:ext cx="2646263" cy="931983"/>
              <a:chOff x="6240001" y="1434419"/>
              <a:chExt cx="4158125" cy="931983"/>
            </a:xfrm>
          </p:grpSpPr>
          <p:sp>
            <p:nvSpPr>
              <p:cNvPr id="13" name="Textplatzhalter 5">
                <a:extLst>
                  <a:ext uri="{FF2B5EF4-FFF2-40B4-BE49-F238E27FC236}">
                    <a16:creationId xmlns:a16="http://schemas.microsoft.com/office/drawing/2014/main" id="{56383C27-399E-2DC0-E3D2-03A10E93E2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40001" y="1434419"/>
                <a:ext cx="958846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spAutoFit/>
              </a:bodyPr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44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88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32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800" b="1" dirty="0">
                    <a:solidFill>
                      <a:srgbClr val="00B0F0"/>
                    </a:solidFill>
                  </a:rPr>
                  <a:t>02</a:t>
                </a:r>
              </a:p>
            </p:txBody>
          </p: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DEFD926C-BB43-A7B5-09AC-939675D96DDF}"/>
                  </a:ext>
                </a:extLst>
              </p:cNvPr>
              <p:cNvGrpSpPr/>
              <p:nvPr/>
            </p:nvGrpSpPr>
            <p:grpSpPr>
              <a:xfrm>
                <a:off x="6240001" y="1989000"/>
                <a:ext cx="4158125" cy="377402"/>
                <a:chOff x="6220949" y="1412875"/>
                <a:chExt cx="4177176" cy="377402"/>
              </a:xfrm>
            </p:grpSpPr>
            <p:sp>
              <p:nvSpPr>
                <p:cNvPr id="24" name="Textplatzhalter 5">
                  <a:extLst>
                    <a:ext uri="{FF2B5EF4-FFF2-40B4-BE49-F238E27FC236}">
                      <a16:creationId xmlns:a16="http://schemas.microsoft.com/office/drawing/2014/main" id="{37B4871D-F6C2-145E-DCD7-D0D4C712EF8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220949" y="1412875"/>
                  <a:ext cx="4177176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2"/>
                      </a:solidFill>
                    </a14:hiddenFill>
                  </a:ext>
                </a:extLst>
              </p:spPr>
              <p:txBody>
                <a:bodyPr vert="horz" wrap="square" lIns="0" tIns="0" rIns="0" bIns="72000" rtlCol="0" anchor="t" anchorCtr="0">
                  <a:spAutoFit/>
                </a:bodyPr>
                <a:lstStyle>
                  <a:lvl1pPr marL="0" indent="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itchFamily="34" charset="0"/>
                    <a:buNone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144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88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432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800" b="1" dirty="0"/>
                    <a:t>Transitional Provisions</a:t>
                  </a:r>
                </a:p>
              </p:txBody>
            </p:sp>
            <p:cxnSp>
              <p:nvCxnSpPr>
                <p:cNvPr id="25" name="Gerader Verbinder 24">
                  <a:extLst>
                    <a:ext uri="{FF2B5EF4-FFF2-40B4-BE49-F238E27FC236}">
                      <a16:creationId xmlns:a16="http://schemas.microsoft.com/office/drawing/2014/main" id="{FE9E924D-B713-3DC1-2956-42874050DDCC}"/>
                    </a:ext>
                  </a:extLst>
                </p:cNvPr>
                <p:cNvCxnSpPr/>
                <p:nvPr/>
              </p:nvCxnSpPr>
              <p:spPr>
                <a:xfrm>
                  <a:off x="6220949" y="1790277"/>
                  <a:ext cx="4177176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72C3025-9C33-DC58-061C-733BF37D1ECC}"/>
              </a:ext>
            </a:extLst>
          </p:cNvPr>
          <p:cNvGrpSpPr/>
          <p:nvPr/>
        </p:nvGrpSpPr>
        <p:grpSpPr>
          <a:xfrm>
            <a:off x="6240001" y="2276564"/>
            <a:ext cx="2646263" cy="3115686"/>
            <a:chOff x="6240001" y="2802544"/>
            <a:chExt cx="2646263" cy="3115686"/>
          </a:xfrm>
        </p:grpSpPr>
        <p:sp>
          <p:nvSpPr>
            <p:cNvPr id="26" name="Textplatzhalter 5">
              <a:extLst>
                <a:ext uri="{FF2B5EF4-FFF2-40B4-BE49-F238E27FC236}">
                  <a16:creationId xmlns:a16="http://schemas.microsoft.com/office/drawing/2014/main" id="{40B65564-9392-F738-ACCC-DCCF46650D3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40002" y="3734527"/>
              <a:ext cx="2646262" cy="2183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28800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/>
                <a:t>Validate Limit Curve with available data of </a:t>
              </a:r>
              <a:r>
                <a:rPr lang="en-US" dirty="0" err="1"/>
                <a:t>CP’sand</a:t>
              </a:r>
              <a:r>
                <a:rPr lang="en-US" dirty="0"/>
                <a:t> OICA</a:t>
              </a:r>
            </a:p>
            <a:p>
              <a:pPr lvl="1"/>
              <a:r>
                <a:rPr lang="en-US" dirty="0"/>
                <a:t>Transparent explanation of the calculation of the limit</a:t>
              </a:r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0023CEB-7715-C16D-F760-3AA533E521BB}"/>
                </a:ext>
              </a:extLst>
            </p:cNvPr>
            <p:cNvGrpSpPr/>
            <p:nvPr/>
          </p:nvGrpSpPr>
          <p:grpSpPr>
            <a:xfrm>
              <a:off x="6240001" y="2802544"/>
              <a:ext cx="2646263" cy="931983"/>
              <a:chOff x="7662399" y="1729454"/>
              <a:chExt cx="4158126" cy="931983"/>
            </a:xfrm>
          </p:grpSpPr>
          <p:sp>
            <p:nvSpPr>
              <p:cNvPr id="22" name="Textplatzhalter 5">
                <a:extLst>
                  <a:ext uri="{FF2B5EF4-FFF2-40B4-BE49-F238E27FC236}">
                    <a16:creationId xmlns:a16="http://schemas.microsoft.com/office/drawing/2014/main" id="{42FB0878-4429-06D4-F2DA-13311DE74E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62399" y="1729454"/>
                <a:ext cx="958846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spAutoFit/>
              </a:bodyPr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44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88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32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800" b="1" dirty="0">
                    <a:solidFill>
                      <a:srgbClr val="00B0F0"/>
                    </a:solidFill>
                  </a:rPr>
                  <a:t>03</a:t>
                </a:r>
              </a:p>
            </p:txBody>
          </p:sp>
          <p:grpSp>
            <p:nvGrpSpPr>
              <p:cNvPr id="27" name="Gruppieren 26">
                <a:extLst>
                  <a:ext uri="{FF2B5EF4-FFF2-40B4-BE49-F238E27FC236}">
                    <a16:creationId xmlns:a16="http://schemas.microsoft.com/office/drawing/2014/main" id="{BDF963C3-34BF-2770-4D64-97BDFEED6791}"/>
                  </a:ext>
                </a:extLst>
              </p:cNvPr>
              <p:cNvGrpSpPr/>
              <p:nvPr/>
            </p:nvGrpSpPr>
            <p:grpSpPr>
              <a:xfrm>
                <a:off x="7662400" y="2284035"/>
                <a:ext cx="4158125" cy="377402"/>
                <a:chOff x="6220949" y="1412875"/>
                <a:chExt cx="4177176" cy="377402"/>
              </a:xfrm>
            </p:grpSpPr>
            <p:sp>
              <p:nvSpPr>
                <p:cNvPr id="28" name="Textplatzhalter 5">
                  <a:extLst>
                    <a:ext uri="{FF2B5EF4-FFF2-40B4-BE49-F238E27FC236}">
                      <a16:creationId xmlns:a16="http://schemas.microsoft.com/office/drawing/2014/main" id="{59559197-0BD0-A963-AA30-CD37BF72E6F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220949" y="1412875"/>
                  <a:ext cx="4177176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2"/>
                      </a:solidFill>
                    </a14:hiddenFill>
                  </a:ext>
                </a:extLst>
              </p:spPr>
              <p:txBody>
                <a:bodyPr vert="horz" wrap="square" lIns="0" tIns="0" rIns="0" bIns="72000" rtlCol="0" anchor="t" anchorCtr="0">
                  <a:spAutoFit/>
                </a:bodyPr>
                <a:lstStyle>
                  <a:lvl1pPr marL="0" indent="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itchFamily="34" charset="0"/>
                    <a:buNone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144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88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432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800" b="1" dirty="0"/>
                    <a:t>Limit Curve</a:t>
                  </a:r>
                </a:p>
              </p:txBody>
            </p:sp>
            <p:cxnSp>
              <p:nvCxnSpPr>
                <p:cNvPr id="29" name="Gerader Verbinder 28">
                  <a:extLst>
                    <a:ext uri="{FF2B5EF4-FFF2-40B4-BE49-F238E27FC236}">
                      <a16:creationId xmlns:a16="http://schemas.microsoft.com/office/drawing/2014/main" id="{9A9438B9-76FF-7121-847A-205B4F75E235}"/>
                    </a:ext>
                  </a:extLst>
                </p:cNvPr>
                <p:cNvCxnSpPr/>
                <p:nvPr/>
              </p:nvCxnSpPr>
              <p:spPr>
                <a:xfrm>
                  <a:off x="6220949" y="1790277"/>
                  <a:ext cx="4177176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B69E4A8-4DE8-FA4F-964E-02D7A8151B24}"/>
              </a:ext>
            </a:extLst>
          </p:cNvPr>
          <p:cNvGrpSpPr/>
          <p:nvPr/>
        </p:nvGrpSpPr>
        <p:grpSpPr>
          <a:xfrm>
            <a:off x="9174263" y="2276564"/>
            <a:ext cx="2646263" cy="3115686"/>
            <a:chOff x="9174263" y="2802544"/>
            <a:chExt cx="2646263" cy="3115686"/>
          </a:xfrm>
          <a:noFill/>
        </p:grpSpPr>
        <p:sp>
          <p:nvSpPr>
            <p:cNvPr id="31" name="Textplatzhalter 5">
              <a:extLst>
                <a:ext uri="{FF2B5EF4-FFF2-40B4-BE49-F238E27FC236}">
                  <a16:creationId xmlns:a16="http://schemas.microsoft.com/office/drawing/2014/main" id="{B70F9022-3A14-0851-242B-FA71F7ADAF5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74264" y="3734527"/>
              <a:ext cx="2646262" cy="2183703"/>
            </a:xfrm>
            <a:prstGeom prst="rect">
              <a:avLst/>
            </a:prstGeom>
            <a:grpFill/>
          </p:spPr>
          <p:txBody>
            <a:bodyPr vert="horz" lIns="0" tIns="28800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/>
                <a:t>Create a part “B” for GRB(P)-68-03 for EVs based on speed</a:t>
              </a:r>
            </a:p>
            <a:p>
              <a:pPr lvl="1"/>
              <a:r>
                <a:rPr lang="en-US" dirty="0"/>
                <a:t>Describe acceptable sound based on R.E. 3 Annex 2 paragraph 4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2F00675-0BF1-4287-CA5E-0B7522E8CC22}"/>
                </a:ext>
              </a:extLst>
            </p:cNvPr>
            <p:cNvGrpSpPr/>
            <p:nvPr/>
          </p:nvGrpSpPr>
          <p:grpSpPr>
            <a:xfrm>
              <a:off x="9174263" y="2802544"/>
              <a:ext cx="2646263" cy="931983"/>
              <a:chOff x="7662399" y="1729454"/>
              <a:chExt cx="4158126" cy="931983"/>
            </a:xfrm>
            <a:grpFill/>
          </p:grpSpPr>
          <p:sp>
            <p:nvSpPr>
              <p:cNvPr id="33" name="Textplatzhalter 5">
                <a:extLst>
                  <a:ext uri="{FF2B5EF4-FFF2-40B4-BE49-F238E27FC236}">
                    <a16:creationId xmlns:a16="http://schemas.microsoft.com/office/drawing/2014/main" id="{20EB6728-0EEF-CBB5-3218-D556629618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62399" y="1729454"/>
                <a:ext cx="958846" cy="430887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spAutoFit/>
              </a:bodyPr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44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88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32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76000" indent="-144000" algn="l" defTabSz="914400" rtl="0" eaLnBrk="1" latinLnBrk="0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800" b="1" dirty="0">
                    <a:solidFill>
                      <a:srgbClr val="00B050"/>
                    </a:solidFill>
                  </a:rPr>
                  <a:t>04</a:t>
                </a:r>
              </a:p>
            </p:txBody>
          </p:sp>
          <p:grpSp>
            <p:nvGrpSpPr>
              <p:cNvPr id="34" name="Gruppieren 33">
                <a:extLst>
                  <a:ext uri="{FF2B5EF4-FFF2-40B4-BE49-F238E27FC236}">
                    <a16:creationId xmlns:a16="http://schemas.microsoft.com/office/drawing/2014/main" id="{8C08CC75-B667-9BCF-1142-7B63ECFA29F5}"/>
                  </a:ext>
                </a:extLst>
              </p:cNvPr>
              <p:cNvGrpSpPr/>
              <p:nvPr/>
            </p:nvGrpSpPr>
            <p:grpSpPr>
              <a:xfrm>
                <a:off x="7662400" y="2284035"/>
                <a:ext cx="4158125" cy="377402"/>
                <a:chOff x="6220949" y="1412875"/>
                <a:chExt cx="4177176" cy="377402"/>
              </a:xfrm>
              <a:grpFill/>
            </p:grpSpPr>
            <p:sp>
              <p:nvSpPr>
                <p:cNvPr id="35" name="Textplatzhalter 5">
                  <a:extLst>
                    <a:ext uri="{FF2B5EF4-FFF2-40B4-BE49-F238E27FC236}">
                      <a16:creationId xmlns:a16="http://schemas.microsoft.com/office/drawing/2014/main" id="{02FAAF34-C198-93B9-CFFE-321476C61FE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220949" y="1412875"/>
                  <a:ext cx="4177176" cy="349702"/>
                </a:xfrm>
                <a:prstGeom prst="rect">
                  <a:avLst/>
                </a:prstGeom>
                <a:grpFill/>
              </p:spPr>
              <p:txBody>
                <a:bodyPr vert="horz" wrap="square" lIns="0" tIns="0" rIns="0" bIns="72000" rtlCol="0" anchor="t" anchorCtr="0">
                  <a:spAutoFit/>
                </a:bodyPr>
                <a:lstStyle>
                  <a:lvl1pPr marL="0" indent="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itchFamily="34" charset="0"/>
                    <a:buNone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144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88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432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576000" indent="-144000" algn="l" defTabSz="914400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SzPct val="100000"/>
                    <a:buFont typeface="Arial" panose="020B0604020202020204" pitchFamily="34" charset="0"/>
                    <a:buChar char="•"/>
                    <a:defRPr sz="16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800" b="1" dirty="0"/>
                    <a:t>Character of Sound</a:t>
                  </a:r>
                </a:p>
              </p:txBody>
            </p:sp>
            <p:cxnSp>
              <p:nvCxnSpPr>
                <p:cNvPr id="36" name="Gerader Verbinder 35">
                  <a:extLst>
                    <a:ext uri="{FF2B5EF4-FFF2-40B4-BE49-F238E27FC236}">
                      <a16:creationId xmlns:a16="http://schemas.microsoft.com/office/drawing/2014/main" id="{625C4CDA-7FBF-D20E-7F30-DC0D7BEAFA7C}"/>
                    </a:ext>
                  </a:extLst>
                </p:cNvPr>
                <p:cNvCxnSpPr/>
                <p:nvPr/>
              </p:nvCxnSpPr>
              <p:spPr>
                <a:xfrm>
                  <a:off x="6220949" y="1790277"/>
                  <a:ext cx="4177176" cy="0"/>
                </a:xfrm>
                <a:prstGeom prst="line">
                  <a:avLst/>
                </a:prstGeom>
                <a:grpFill/>
                <a:ln w="254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7" name="Freihandform 54">
            <a:extLst>
              <a:ext uri="{FF2B5EF4-FFF2-40B4-BE49-F238E27FC236}">
                <a16:creationId xmlns:a16="http://schemas.microsoft.com/office/drawing/2014/main" id="{23E645AF-60F0-E989-D61E-AB8CA41A02B1}"/>
              </a:ext>
            </a:extLst>
          </p:cNvPr>
          <p:cNvSpPr/>
          <p:nvPr/>
        </p:nvSpPr>
        <p:spPr>
          <a:xfrm>
            <a:off x="371475" y="2149295"/>
            <a:ext cx="8514789" cy="220670"/>
          </a:xfrm>
          <a:custGeom>
            <a:avLst/>
            <a:gdLst>
              <a:gd name="connsiteX0" fmla="*/ 0 w 7198822"/>
              <a:gd name="connsiteY0" fmla="*/ 0 h 95596"/>
              <a:gd name="connsiteX1" fmla="*/ 3503815 w 7198822"/>
              <a:gd name="connsiteY1" fmla="*/ 0 h 95596"/>
              <a:gd name="connsiteX2" fmla="*/ 3603567 w 7198822"/>
              <a:gd name="connsiteY2" fmla="*/ 95596 h 95596"/>
              <a:gd name="connsiteX3" fmla="*/ 3699164 w 7198822"/>
              <a:gd name="connsiteY3" fmla="*/ 0 h 95596"/>
              <a:gd name="connsiteX4" fmla="*/ 7198822 w 7198822"/>
              <a:gd name="connsiteY4" fmla="*/ 0 h 95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8822" h="95596">
                <a:moveTo>
                  <a:pt x="0" y="0"/>
                </a:moveTo>
                <a:lnTo>
                  <a:pt x="3503815" y="0"/>
                </a:lnTo>
                <a:lnTo>
                  <a:pt x="3603567" y="95596"/>
                </a:lnTo>
                <a:lnTo>
                  <a:pt x="3699164" y="0"/>
                </a:lnTo>
                <a:lnTo>
                  <a:pt x="7198822" y="0"/>
                </a:lnTo>
              </a:path>
            </a:pathLst>
          </a:cu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EAA3191-2DCA-D74A-EA7C-3DD50DBDF0F7}"/>
              </a:ext>
            </a:extLst>
          </p:cNvPr>
          <p:cNvGrpSpPr/>
          <p:nvPr/>
        </p:nvGrpSpPr>
        <p:grpSpPr>
          <a:xfrm>
            <a:off x="371474" y="1186299"/>
            <a:ext cx="8514790" cy="974553"/>
            <a:chOff x="371474" y="1412875"/>
            <a:chExt cx="8514790" cy="974553"/>
          </a:xfrm>
        </p:grpSpPr>
        <p:sp>
          <p:nvSpPr>
            <p:cNvPr id="40" name="Textplatzhalter 5">
              <a:extLst>
                <a:ext uri="{FF2B5EF4-FFF2-40B4-BE49-F238E27FC236}">
                  <a16:creationId xmlns:a16="http://schemas.microsoft.com/office/drawing/2014/main" id="{9FE3752A-F0AD-E29E-CBAA-1FBC5FFF7A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1474" y="1790277"/>
              <a:ext cx="8440753" cy="597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Based on GRBP-82-08 (</a:t>
              </a:r>
              <a:r>
                <a:rPr lang="en-US" dirty="0" err="1"/>
                <a:t>transm</a:t>
              </a:r>
              <a:r>
                <a:rPr lang="en-US" dirty="0"/>
                <a:t>. by OICA to 14. SG on R51 &amp; R138 and 82nd GRBP), additional topics</a:t>
              </a:r>
            </a:p>
          </p:txBody>
        </p:sp>
        <p:sp>
          <p:nvSpPr>
            <p:cNvPr id="42" name="Textplatzhalter 5">
              <a:extLst>
                <a:ext uri="{FF2B5EF4-FFF2-40B4-BE49-F238E27FC236}">
                  <a16:creationId xmlns:a16="http://schemas.microsoft.com/office/drawing/2014/main" id="{47C89351-A09C-BABD-3B4B-0CACDD940861}"/>
                </a:ext>
              </a:extLst>
            </p:cNvPr>
            <p:cNvSpPr txBox="1">
              <a:spLocks/>
            </p:cNvSpPr>
            <p:nvPr/>
          </p:nvSpPr>
          <p:spPr>
            <a:xfrm>
              <a:off x="371476" y="1412875"/>
              <a:ext cx="8514788" cy="349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solidFill>
                    <a:srgbClr val="00B0F0"/>
                  </a:solidFill>
                </a:rPr>
                <a:t>GRBP/2025/29</a:t>
              </a:r>
            </a:p>
          </p:txBody>
        </p:sp>
      </p:grpSp>
      <p:sp>
        <p:nvSpPr>
          <p:cNvPr id="41" name="Freihandform 54">
            <a:extLst>
              <a:ext uri="{FF2B5EF4-FFF2-40B4-BE49-F238E27FC236}">
                <a16:creationId xmlns:a16="http://schemas.microsoft.com/office/drawing/2014/main" id="{25FAB5DB-C4D5-0FD1-4022-58EE3D4C6521}"/>
              </a:ext>
            </a:extLst>
          </p:cNvPr>
          <p:cNvSpPr/>
          <p:nvPr/>
        </p:nvSpPr>
        <p:spPr>
          <a:xfrm>
            <a:off x="9198705" y="2149295"/>
            <a:ext cx="2646263" cy="220670"/>
          </a:xfrm>
          <a:custGeom>
            <a:avLst/>
            <a:gdLst>
              <a:gd name="connsiteX0" fmla="*/ 0 w 7198822"/>
              <a:gd name="connsiteY0" fmla="*/ 0 h 95596"/>
              <a:gd name="connsiteX1" fmla="*/ 3503815 w 7198822"/>
              <a:gd name="connsiteY1" fmla="*/ 0 h 95596"/>
              <a:gd name="connsiteX2" fmla="*/ 3603567 w 7198822"/>
              <a:gd name="connsiteY2" fmla="*/ 95596 h 95596"/>
              <a:gd name="connsiteX3" fmla="*/ 3699164 w 7198822"/>
              <a:gd name="connsiteY3" fmla="*/ 0 h 95596"/>
              <a:gd name="connsiteX4" fmla="*/ 7198822 w 7198822"/>
              <a:gd name="connsiteY4" fmla="*/ 0 h 95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8822" h="95596">
                <a:moveTo>
                  <a:pt x="0" y="0"/>
                </a:moveTo>
                <a:lnTo>
                  <a:pt x="3503815" y="0"/>
                </a:lnTo>
                <a:lnTo>
                  <a:pt x="3603567" y="95596"/>
                </a:lnTo>
                <a:lnTo>
                  <a:pt x="3699164" y="0"/>
                </a:lnTo>
                <a:lnTo>
                  <a:pt x="7198822" y="0"/>
                </a:lnTo>
              </a:path>
            </a:pathLst>
          </a:cu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43" name="Group 13">
            <a:extLst>
              <a:ext uri="{FF2B5EF4-FFF2-40B4-BE49-F238E27FC236}">
                <a16:creationId xmlns:a16="http://schemas.microsoft.com/office/drawing/2014/main" id="{BB3D9EAD-1B53-F971-48C0-6492CEC6920A}"/>
              </a:ext>
            </a:extLst>
          </p:cNvPr>
          <p:cNvGrpSpPr/>
          <p:nvPr/>
        </p:nvGrpSpPr>
        <p:grpSpPr>
          <a:xfrm>
            <a:off x="9198705" y="1186299"/>
            <a:ext cx="2621820" cy="669854"/>
            <a:chOff x="371474" y="1412875"/>
            <a:chExt cx="8514790" cy="669854"/>
          </a:xfrm>
          <a:noFill/>
        </p:grpSpPr>
        <p:sp>
          <p:nvSpPr>
            <p:cNvPr id="44" name="Textplatzhalter 5">
              <a:extLst>
                <a:ext uri="{FF2B5EF4-FFF2-40B4-BE49-F238E27FC236}">
                  <a16:creationId xmlns:a16="http://schemas.microsoft.com/office/drawing/2014/main" id="{B3885B39-662E-AF61-9E5F-DFF282230DC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1474" y="1790277"/>
              <a:ext cx="8510406" cy="292452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Document for Reference</a:t>
              </a:r>
            </a:p>
          </p:txBody>
        </p:sp>
        <p:sp>
          <p:nvSpPr>
            <p:cNvPr id="45" name="Textplatzhalter 5">
              <a:extLst>
                <a:ext uri="{FF2B5EF4-FFF2-40B4-BE49-F238E27FC236}">
                  <a16:creationId xmlns:a16="http://schemas.microsoft.com/office/drawing/2014/main" id="{6CD850AD-CC60-D31B-17E2-7F81B2FAD29A}"/>
                </a:ext>
              </a:extLst>
            </p:cNvPr>
            <p:cNvSpPr txBox="1">
              <a:spLocks/>
            </p:cNvSpPr>
            <p:nvPr/>
          </p:nvSpPr>
          <p:spPr>
            <a:xfrm>
              <a:off x="371477" y="1412875"/>
              <a:ext cx="8514787" cy="349702"/>
            </a:xfrm>
            <a:prstGeom prst="rect">
              <a:avLst/>
            </a:prstGeom>
            <a:grpFill/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solidFill>
                    <a:srgbClr val="00B050"/>
                  </a:solidFill>
                </a:rPr>
                <a:t>GRB-68-03</a:t>
              </a:r>
            </a:p>
          </p:txBody>
        </p:sp>
      </p:grpSp>
      <p:sp>
        <p:nvSpPr>
          <p:cNvPr id="60" name="Freihandform 54">
            <a:extLst>
              <a:ext uri="{FF2B5EF4-FFF2-40B4-BE49-F238E27FC236}">
                <a16:creationId xmlns:a16="http://schemas.microsoft.com/office/drawing/2014/main" id="{F6341896-5E62-B47C-E67E-5505E2F91944}"/>
              </a:ext>
            </a:extLst>
          </p:cNvPr>
          <p:cNvSpPr/>
          <p:nvPr/>
        </p:nvSpPr>
        <p:spPr>
          <a:xfrm>
            <a:off x="370127" y="5530403"/>
            <a:ext cx="8514789" cy="220670"/>
          </a:xfrm>
          <a:custGeom>
            <a:avLst/>
            <a:gdLst>
              <a:gd name="connsiteX0" fmla="*/ 0 w 7198822"/>
              <a:gd name="connsiteY0" fmla="*/ 0 h 95596"/>
              <a:gd name="connsiteX1" fmla="*/ 3503815 w 7198822"/>
              <a:gd name="connsiteY1" fmla="*/ 0 h 95596"/>
              <a:gd name="connsiteX2" fmla="*/ 3603567 w 7198822"/>
              <a:gd name="connsiteY2" fmla="*/ 95596 h 95596"/>
              <a:gd name="connsiteX3" fmla="*/ 3699164 w 7198822"/>
              <a:gd name="connsiteY3" fmla="*/ 0 h 95596"/>
              <a:gd name="connsiteX4" fmla="*/ 7198822 w 7198822"/>
              <a:gd name="connsiteY4" fmla="*/ 0 h 95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8822" h="95596">
                <a:moveTo>
                  <a:pt x="0" y="0"/>
                </a:moveTo>
                <a:lnTo>
                  <a:pt x="3503815" y="0"/>
                </a:lnTo>
                <a:lnTo>
                  <a:pt x="3603567" y="95596"/>
                </a:lnTo>
                <a:lnTo>
                  <a:pt x="3699164" y="0"/>
                </a:lnTo>
                <a:lnTo>
                  <a:pt x="7198822" y="0"/>
                </a:lnTo>
              </a:path>
            </a:pathLst>
          </a:cu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61" name="Group 13">
            <a:extLst>
              <a:ext uri="{FF2B5EF4-FFF2-40B4-BE49-F238E27FC236}">
                <a16:creationId xmlns:a16="http://schemas.microsoft.com/office/drawing/2014/main" id="{115EFB6C-75F0-63CE-B878-15BBC19EB6D5}"/>
              </a:ext>
            </a:extLst>
          </p:cNvPr>
          <p:cNvGrpSpPr/>
          <p:nvPr/>
        </p:nvGrpSpPr>
        <p:grpSpPr>
          <a:xfrm>
            <a:off x="370126" y="5845943"/>
            <a:ext cx="8514790" cy="548474"/>
            <a:chOff x="371474" y="1412875"/>
            <a:chExt cx="8514790" cy="548474"/>
          </a:xfrm>
        </p:grpSpPr>
        <p:sp>
          <p:nvSpPr>
            <p:cNvPr id="62" name="Textplatzhalter 5">
              <a:extLst>
                <a:ext uri="{FF2B5EF4-FFF2-40B4-BE49-F238E27FC236}">
                  <a16:creationId xmlns:a16="http://schemas.microsoft.com/office/drawing/2014/main" id="{B866AE30-3235-2B5E-AA6A-B19A3EBE5E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1474" y="1668897"/>
              <a:ext cx="8440753" cy="292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Small amendments incorporating topics 01-03</a:t>
              </a:r>
            </a:p>
          </p:txBody>
        </p:sp>
        <p:sp>
          <p:nvSpPr>
            <p:cNvPr id="63" name="Textplatzhalter 5">
              <a:extLst>
                <a:ext uri="{FF2B5EF4-FFF2-40B4-BE49-F238E27FC236}">
                  <a16:creationId xmlns:a16="http://schemas.microsoft.com/office/drawing/2014/main" id="{8A1C292C-565F-471D-3D60-A466FD3A26A3}"/>
                </a:ext>
              </a:extLst>
            </p:cNvPr>
            <p:cNvSpPr txBox="1">
              <a:spLocks/>
            </p:cNvSpPr>
            <p:nvPr/>
          </p:nvSpPr>
          <p:spPr>
            <a:xfrm>
              <a:off x="371476" y="1412875"/>
              <a:ext cx="8514788" cy="349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solidFill>
                    <a:srgbClr val="00B0F0"/>
                  </a:solidFill>
                </a:rPr>
                <a:t>Revised GRBP-82-08 submitted to 83</a:t>
              </a:r>
              <a:r>
                <a:rPr lang="en-US" sz="1800" b="1" baseline="30000" dirty="0">
                  <a:solidFill>
                    <a:srgbClr val="00B0F0"/>
                  </a:solidFill>
                </a:rPr>
                <a:t>rd</a:t>
              </a:r>
              <a:r>
                <a:rPr lang="en-US" sz="1800" b="1" dirty="0">
                  <a:solidFill>
                    <a:srgbClr val="00B0F0"/>
                  </a:solidFill>
                </a:rPr>
                <a:t> GRBP for adoption</a:t>
              </a:r>
            </a:p>
          </p:txBody>
        </p:sp>
      </p:grpSp>
      <p:sp>
        <p:nvSpPr>
          <p:cNvPr id="64" name="Freihandform 54">
            <a:extLst>
              <a:ext uri="{FF2B5EF4-FFF2-40B4-BE49-F238E27FC236}">
                <a16:creationId xmlns:a16="http://schemas.microsoft.com/office/drawing/2014/main" id="{C3993EF7-65CB-98D8-9682-499FC88DFE12}"/>
              </a:ext>
            </a:extLst>
          </p:cNvPr>
          <p:cNvSpPr/>
          <p:nvPr/>
        </p:nvSpPr>
        <p:spPr>
          <a:xfrm>
            <a:off x="9197357" y="5514219"/>
            <a:ext cx="2646263" cy="220670"/>
          </a:xfrm>
          <a:custGeom>
            <a:avLst/>
            <a:gdLst>
              <a:gd name="connsiteX0" fmla="*/ 0 w 7198822"/>
              <a:gd name="connsiteY0" fmla="*/ 0 h 95596"/>
              <a:gd name="connsiteX1" fmla="*/ 3503815 w 7198822"/>
              <a:gd name="connsiteY1" fmla="*/ 0 h 95596"/>
              <a:gd name="connsiteX2" fmla="*/ 3603567 w 7198822"/>
              <a:gd name="connsiteY2" fmla="*/ 95596 h 95596"/>
              <a:gd name="connsiteX3" fmla="*/ 3699164 w 7198822"/>
              <a:gd name="connsiteY3" fmla="*/ 0 h 95596"/>
              <a:gd name="connsiteX4" fmla="*/ 7198822 w 7198822"/>
              <a:gd name="connsiteY4" fmla="*/ 0 h 95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8822" h="95596">
                <a:moveTo>
                  <a:pt x="0" y="0"/>
                </a:moveTo>
                <a:lnTo>
                  <a:pt x="3503815" y="0"/>
                </a:lnTo>
                <a:lnTo>
                  <a:pt x="3603567" y="95596"/>
                </a:lnTo>
                <a:lnTo>
                  <a:pt x="3699164" y="0"/>
                </a:lnTo>
                <a:lnTo>
                  <a:pt x="7198822" y="0"/>
                </a:lnTo>
              </a:path>
            </a:pathLst>
          </a:cu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65" name="Group 13">
            <a:extLst>
              <a:ext uri="{FF2B5EF4-FFF2-40B4-BE49-F238E27FC236}">
                <a16:creationId xmlns:a16="http://schemas.microsoft.com/office/drawing/2014/main" id="{60A1CE20-0ECF-8B1B-A66D-EC47C9CD3C04}"/>
              </a:ext>
            </a:extLst>
          </p:cNvPr>
          <p:cNvGrpSpPr/>
          <p:nvPr/>
        </p:nvGrpSpPr>
        <p:grpSpPr>
          <a:xfrm>
            <a:off x="9197357" y="5813575"/>
            <a:ext cx="2884052" cy="1112117"/>
            <a:chOff x="371474" y="1477611"/>
            <a:chExt cx="8514790" cy="1112117"/>
          </a:xfrm>
          <a:noFill/>
        </p:grpSpPr>
        <p:sp>
          <p:nvSpPr>
            <p:cNvPr id="66" name="Textplatzhalter 5">
              <a:extLst>
                <a:ext uri="{FF2B5EF4-FFF2-40B4-BE49-F238E27FC236}">
                  <a16:creationId xmlns:a16="http://schemas.microsoft.com/office/drawing/2014/main" id="{D4745F14-4F3C-62A1-91A9-A799CCBD2A0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1474" y="1992577"/>
              <a:ext cx="8514784" cy="59715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Updated Doc. for Reference</a:t>
              </a:r>
            </a:p>
          </p:txBody>
        </p:sp>
        <p:sp>
          <p:nvSpPr>
            <p:cNvPr id="67" name="Textplatzhalter 5">
              <a:extLst>
                <a:ext uri="{FF2B5EF4-FFF2-40B4-BE49-F238E27FC236}">
                  <a16:creationId xmlns:a16="http://schemas.microsoft.com/office/drawing/2014/main" id="{75ECBFB5-CD41-FC39-E5BC-9DAC6A343B69}"/>
                </a:ext>
              </a:extLst>
            </p:cNvPr>
            <p:cNvSpPr txBox="1">
              <a:spLocks/>
            </p:cNvSpPr>
            <p:nvPr/>
          </p:nvSpPr>
          <p:spPr>
            <a:xfrm>
              <a:off x="371477" y="1477611"/>
              <a:ext cx="8514787" cy="626701"/>
            </a:xfrm>
            <a:prstGeom prst="rect">
              <a:avLst/>
            </a:prstGeom>
            <a:grpFill/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solidFill>
                    <a:srgbClr val="00B050"/>
                  </a:solidFill>
                </a:rPr>
                <a:t>Rev. GRB-68-03 </a:t>
              </a:r>
              <a:r>
                <a:rPr lang="en-US" sz="1800" b="1" dirty="0" err="1">
                  <a:solidFill>
                    <a:srgbClr val="00B050"/>
                  </a:solidFill>
                </a:rPr>
                <a:t>subm</a:t>
              </a:r>
              <a:r>
                <a:rPr lang="en-US" sz="1800" b="1" dirty="0">
                  <a:solidFill>
                    <a:srgbClr val="00B050"/>
                  </a:solidFill>
                </a:rPr>
                <a:t>. To 84</a:t>
              </a:r>
              <a:r>
                <a:rPr lang="en-US" sz="1800" b="1" baseline="30000" dirty="0">
                  <a:solidFill>
                    <a:srgbClr val="00B050"/>
                  </a:solidFill>
                </a:rPr>
                <a:t>th</a:t>
              </a:r>
              <a:r>
                <a:rPr lang="en-US" sz="1800" b="1" dirty="0">
                  <a:solidFill>
                    <a:srgbClr val="00B050"/>
                  </a:solidFill>
                </a:rPr>
                <a:t> GRBP latest</a:t>
              </a:r>
            </a:p>
          </p:txBody>
        </p:sp>
      </p:grpSp>
      <p:sp>
        <p:nvSpPr>
          <p:cNvPr id="4" name="Rectangle 2">
            <a:extLst>
              <a:ext uri="{FF2B5EF4-FFF2-40B4-BE49-F238E27FC236}">
                <a16:creationId xmlns:a16="http://schemas.microsoft.com/office/drawing/2014/main" id="{0970FBD2-FE6F-BCD8-4378-3837F252BF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973" y="6415011"/>
            <a:ext cx="857427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nl-NL" sz="9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Documentatio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altLang="nl-NL" sz="9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cs typeface="Arial" panose="020B0604020202020204" pitchFamily="34" charset="0"/>
            </a:endParaRPr>
          </a:p>
        </p:txBody>
      </p:sp>
      <p:sp>
        <p:nvSpPr>
          <p:cNvPr id="19" name="Rectangle 1">
            <a:extLst>
              <a:ext uri="{FF2B5EF4-FFF2-40B4-BE49-F238E27FC236}">
                <a16:creationId xmlns:a16="http://schemas.microsoft.com/office/drawing/2014/main" id="{1C7ADDF9-EE94-1B83-84EE-963240BD2B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972" y="6547347"/>
            <a:ext cx="857427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9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RBP-82-08 -</a:t>
            </a:r>
            <a:r>
              <a:rPr kumimoji="0" lang="nl-NL" altLang="nl-NL" sz="12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(OICA) </a:t>
            </a:r>
            <a:r>
              <a:rPr kumimoji="0" lang="nl-NL" altLang="nl-NL" sz="1200" b="0" i="0" u="none" strike="noStrike" cap="none" normalizeH="0" baseline="0" dirty="0" err="1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Proposal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kumimoji="0" lang="nl-NL" altLang="nl-NL" sz="1200" b="0" i="0" u="none" strike="noStrike" cap="none" normalizeH="0" baseline="0" dirty="0" err="1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to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kumimoji="0" lang="nl-NL" altLang="nl-NL" sz="1200" b="0" i="0" u="none" strike="noStrike" cap="none" normalizeH="0" baseline="0" dirty="0" err="1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replace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rgbClr val="BC471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ECE/TRANS/WP.29/GRBP/2025/29</a:t>
            </a:r>
            <a:r>
              <a:rPr kumimoji="0" lang="nl-NL" altLang="nl-NL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031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8FF7CA-6673-A4A3-8C1E-5A2A29B3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26B1B90-4592-9F58-BCA3-0E6CD2494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ASEP Limit line GRBP-82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364C59E-98D8-4797-381D-0C5DC5782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E1402-C48D-4BE1-B5C4-3ED179C88C9E}" type="slidenum">
              <a:rPr lang="en-GB" smtClean="0"/>
              <a:t>3</a:t>
            </a:fld>
            <a:endParaRPr lang="en-GB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579F08E5-31F0-3D1D-D78A-98050AD721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16582"/>
              </p:ext>
            </p:extLst>
          </p:nvPr>
        </p:nvGraphicFramePr>
        <p:xfrm>
          <a:off x="838199" y="365125"/>
          <a:ext cx="10882745" cy="59839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77728">
                  <a:extLst>
                    <a:ext uri="{9D8B030D-6E8A-4147-A177-3AD203B41FA5}">
                      <a16:colId xmlns:a16="http://schemas.microsoft.com/office/drawing/2014/main" val="2349328821"/>
                    </a:ext>
                  </a:extLst>
                </a:gridCol>
                <a:gridCol w="1597891">
                  <a:extLst>
                    <a:ext uri="{9D8B030D-6E8A-4147-A177-3AD203B41FA5}">
                      <a16:colId xmlns:a16="http://schemas.microsoft.com/office/drawing/2014/main" val="2542525791"/>
                    </a:ext>
                  </a:extLst>
                </a:gridCol>
                <a:gridCol w="1607126">
                  <a:extLst>
                    <a:ext uri="{9D8B030D-6E8A-4147-A177-3AD203B41FA5}">
                      <a16:colId xmlns:a16="http://schemas.microsoft.com/office/drawing/2014/main" val="1574764677"/>
                    </a:ext>
                  </a:extLst>
                </a:gridCol>
              </a:tblGrid>
              <a:tr h="6025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Detailed Planning</a:t>
                      </a:r>
                    </a:p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Start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inal</a:t>
                      </a:r>
                      <a:r>
                        <a:rPr lang="nl-NL" dirty="0"/>
                        <a:t>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118281"/>
                  </a:ext>
                </a:extLst>
              </a:tr>
              <a:tr h="37533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Continu with expected sounds in GRB 68-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64909"/>
                  </a:ext>
                </a:extLst>
              </a:tr>
              <a:tr h="52722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Time reserved for last text improv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23-oct-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584"/>
                  </a:ext>
                </a:extLst>
              </a:tr>
              <a:tr h="5272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dirty="0"/>
                        <a:t>Consensus </a:t>
                      </a:r>
                      <a:r>
                        <a:rPr lang="nl-NL" dirty="0" err="1"/>
                        <a:t>and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finalized</a:t>
                      </a:r>
                      <a:r>
                        <a:rPr lang="nl-NL" dirty="0"/>
                        <a:t> document in </a:t>
                      </a:r>
                      <a:r>
                        <a:rPr lang="nl-NL" dirty="0" err="1"/>
                        <a:t>October</a:t>
                      </a:r>
                      <a:r>
                        <a:rPr lang="nl-NL" dirty="0"/>
                        <a:t> IWG meeting in Münch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dirty="0"/>
                        <a:t>21-oct-2025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23-oct-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794091"/>
                  </a:ext>
                </a:extLst>
              </a:tr>
              <a:tr h="170102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Prepared </a:t>
                      </a:r>
                      <a:r>
                        <a:rPr lang="en-US"/>
                        <a:t>proposal available.</a:t>
                      </a:r>
                      <a:endParaRPr lang="en-US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Expected content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Default state incorporated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Transitional provision incorporated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Explanation of calculation (presentation and proposal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Verification of limit line with data (presentation and propos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14-oct-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9231585"/>
                  </a:ext>
                </a:extLst>
              </a:tr>
              <a:tr h="32910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Explanation calculation and verification of limi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9-sept-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7-0ct-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00313"/>
                  </a:ext>
                </a:extLst>
              </a:tr>
              <a:tr h="39179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Proposal default state and transitional provi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9-sept-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25-sept-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9118953"/>
                  </a:ext>
                </a:extLst>
              </a:tr>
              <a:tr h="12148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Proposal text for default state and transitional provision ready by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9-sept-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25-sept-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7047487"/>
                  </a:ext>
                </a:extLst>
              </a:tr>
            </a:tbl>
          </a:graphicData>
        </a:graphic>
      </p:graphicFrame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DDAA5D90-A69F-9791-28F6-95EBF38EC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7618" y="5989060"/>
            <a:ext cx="4534126" cy="365125"/>
          </a:xfrm>
        </p:spPr>
        <p:txBody>
          <a:bodyPr>
            <a:normAutofit fontScale="77500" lnSpcReduction="20000"/>
          </a:bodyPr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96470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Path xmlns="acccb6d4-dbe5-46d2-b4d3-5733603d8cc6" xsi:nil="true"/>
    <TaxCatchAll xmlns="985ec44e-1bab-4c0b-9df0-6ba128686fc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21" ma:contentTypeDescription="Create a new document." ma:contentTypeScope="" ma:versionID="70aa97d293dc1b068aad8ec574bd5b29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116effa8a8d4dca7515820515ac66886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  <xsd:element ref="ns3:Pat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Path" ma:index="27" nillable="true" ma:displayName="Path" ma:internalName="Path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C15C51-F0B5-446E-AF97-90B57D2F2353}">
  <ds:schemaRefs>
    <ds:schemaRef ds:uri="http://schemas.microsoft.com/office/2006/metadata/properties"/>
    <ds:schemaRef ds:uri="http://schemas.microsoft.com/office/infopath/2007/PartnerControls"/>
    <ds:schemaRef ds:uri="acccb6d4-dbe5-46d2-b4d3-5733603d8cc6"/>
    <ds:schemaRef ds:uri="985ec44e-1bab-4c0b-9df0-6ba128686fc9"/>
  </ds:schemaRefs>
</ds:datastoreItem>
</file>

<file path=customXml/itemProps2.xml><?xml version="1.0" encoding="utf-8"?>
<ds:datastoreItem xmlns:ds="http://schemas.openxmlformats.org/officeDocument/2006/customXml" ds:itemID="{982E66A2-F1D2-4D8A-85B9-7A98171913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7BF9EF-D761-4A3D-9BFB-831500F764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0f9e35db-544f-4f60-bdcc-5ea416e6dc70}" enabled="0" method="" siteId="{0f9e35db-544f-4f60-bdcc-5ea416e6dc70}" removed="1"/>
  <clbl:label id="{150cfa2a-f5d3-460a-ae30-e92179b1b1a9}" enabled="0" method="" siteId="{150cfa2a-f5d3-460a-ae30-e92179b1b1a9}" removed="1"/>
  <clbl:label id="{a7f2ec83-e677-438d-afb7-4c7c0dbc872b}" enabled="1" method="Standard" siteId="{3bc062e4-ac9d-4c17-b4dd-3aad637ff1a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750</TotalTime>
  <Words>348</Words>
  <Application>Microsoft Office PowerPoint</Application>
  <PresentationFormat>Widescreen</PresentationFormat>
  <Paragraphs>6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ptos</vt:lpstr>
      <vt:lpstr>Aptos Display</vt:lpstr>
      <vt:lpstr>Arial</vt:lpstr>
      <vt:lpstr>Kantoorthema</vt:lpstr>
      <vt:lpstr>think-cell Folie</vt:lpstr>
      <vt:lpstr>Report to 82nd  Session of GRBP (September 2025)</vt:lpstr>
      <vt:lpstr>Agreed items for Consideration as amendments to on GRBP/2025/29</vt:lpstr>
      <vt:lpstr>PowerPoint Presentation</vt:lpstr>
    </vt:vector>
  </TitlesOfParts>
  <Company>RDW Dienst Wegverke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F-AVRS GRBP</dc:title>
  <dc:creator>Boersma, Jan Sybren</dc:creator>
  <cp:lastModifiedBy>Konstantin Glukhenkiy</cp:lastModifiedBy>
  <cp:revision>16</cp:revision>
  <dcterms:created xsi:type="dcterms:W3CDTF">2024-06-10T06:33:31Z</dcterms:created>
  <dcterms:modified xsi:type="dcterms:W3CDTF">2025-09-04T13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8422D08C252547BB1CFA7F78E2CB83</vt:lpwstr>
  </property>
  <property fmtid="{D5CDD505-2E9C-101B-9397-08002B2CF9AE}" pid="4" name="MediaServiceImageTags">
    <vt:lpwstr/>
  </property>
  <property fmtid="{D5CDD505-2E9C-101B-9397-08002B2CF9AE}" pid="5" name="gba66df640194346a5267c50f24d4797">
    <vt:lpwstr/>
  </property>
  <property fmtid="{D5CDD505-2E9C-101B-9397-08002B2CF9AE}" pid="6" name="Office_x0020_of_x0020_Origin">
    <vt:lpwstr/>
  </property>
  <property fmtid="{D5CDD505-2E9C-101B-9397-08002B2CF9AE}" pid="7" name="Office of Origin">
    <vt:lpwstr/>
  </property>
</Properties>
</file>